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820" r:id="rId2"/>
    <p:sldId id="821" r:id="rId3"/>
    <p:sldId id="828" r:id="rId4"/>
    <p:sldId id="829" r:id="rId5"/>
    <p:sldId id="833" r:id="rId6"/>
    <p:sldId id="831" r:id="rId7"/>
    <p:sldId id="834" r:id="rId8"/>
    <p:sldId id="837" r:id="rId9"/>
    <p:sldId id="832" r:id="rId10"/>
    <p:sldId id="830" r:id="rId11"/>
    <p:sldId id="835" r:id="rId12"/>
    <p:sldId id="836" r:id="rId13"/>
  </p:sldIdLst>
  <p:sldSz cx="12192000" cy="6858000"/>
  <p:notesSz cx="6858000" cy="9144000"/>
  <p:defaultTextStyle>
    <a:defPPr>
      <a:defRPr lang="zh-CN"/>
    </a:defPPr>
    <a:lvl1pPr marL="0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7">
          <p15:clr>
            <a:srgbClr val="A4A3A4"/>
          </p15:clr>
        </p15:guide>
        <p15:guide id="2" pos="3860">
          <p15:clr>
            <a:srgbClr val="A4A3A4"/>
          </p15:clr>
        </p15:guide>
        <p15:guide id="3" pos="34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5B9BD5"/>
    <a:srgbClr val="004195"/>
    <a:srgbClr val="BEE3FD"/>
    <a:srgbClr val="FFFFFF"/>
    <a:srgbClr val="3A5A88"/>
    <a:srgbClr val="3A5A84"/>
    <a:srgbClr val="545454"/>
    <a:srgbClr val="2E75B6"/>
    <a:srgbClr val="DEEB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481" autoAdjust="0"/>
    <p:restoredTop sz="88745" autoAdjust="0"/>
  </p:normalViewPr>
  <p:slideViewPr>
    <p:cSldViewPr snapToGrid="0">
      <p:cViewPr varScale="1">
        <p:scale>
          <a:sx n="70" d="100"/>
          <a:sy n="70" d="100"/>
        </p:scale>
        <p:origin x="495" y="30"/>
      </p:cViewPr>
      <p:guideLst>
        <p:guide orient="horz" pos="2187"/>
        <p:guide pos="3860"/>
        <p:guide pos="34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7" d="100"/>
          <a:sy n="57" d="100"/>
        </p:scale>
        <p:origin x="2808" y="3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42810D-89E5-4FC9-B126-17D1026C7C0B}" type="datetimeFigureOut">
              <a:rPr lang="zh-CN" altLang="en-US" smtClean="0"/>
              <a:t>2022/1/20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BA562E-3793-40B4-A08C-A4A4CBF6454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66F884-72D1-9244-9DB8-8B9D9D92EC19}" type="datetimeFigureOut">
              <a:rPr lang="en-US" smtClean="0"/>
              <a:t>1/20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DF9EEE-B76D-9948-8757-AFEF63A0BC07}" type="slidenum">
              <a:rPr lang="en-US" smtClean="0"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DF9EEE-B76D-9948-8757-AFEF63A0BC07}" type="slidenum">
              <a:rPr lang="en-US" smtClean="0"/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DF9EEE-B76D-9948-8757-AFEF63A0BC07}" type="slidenum">
              <a:rPr lang="en-US" smtClean="0"/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DF9EEE-B76D-9948-8757-AFEF63A0BC07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29108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DF9EEE-B76D-9948-8757-AFEF63A0BC07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23507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DF9EEE-B76D-9948-8757-AFEF63A0BC07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99087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/20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/20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/20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>
            <a:off x="1371604" y="3498220"/>
            <a:ext cx="5070763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6400" b="0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THANK YOU</a:t>
            </a:r>
            <a:endParaRPr lang="zh-CN" altLang="en-US" sz="6400" b="0" dirty="0">
              <a:solidFill>
                <a:schemeClr val="bg1"/>
              </a:solidFill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sp>
        <p:nvSpPr>
          <p:cNvPr id="5" name="矩形 4"/>
          <p:cNvSpPr/>
          <p:nvPr userDrawn="1"/>
        </p:nvSpPr>
        <p:spPr>
          <a:xfrm>
            <a:off x="1371604" y="4575436"/>
            <a:ext cx="184265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1200" b="0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Thanks for watching</a:t>
            </a:r>
            <a:endParaRPr lang="zh-CN" altLang="en-US" sz="1200" b="0" dirty="0">
              <a:solidFill>
                <a:schemeClr val="bg1"/>
              </a:solidFill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7" name="对象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4290" y="162393"/>
            <a:ext cx="8725064" cy="461665"/>
          </a:xfrm>
        </p:spPr>
        <p:txBody>
          <a:bodyPr>
            <a:normAutofit/>
          </a:bodyPr>
          <a:lstStyle>
            <a:lvl1pPr marL="0" algn="l" defTabSz="913765" rtl="0" eaLnBrk="1" latinLnBrk="0" hangingPunct="1">
              <a:defRPr lang="en-US" sz="2400" b="1" kern="1200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cs typeface="+mn-cs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4290" y="1044390"/>
            <a:ext cx="10809509" cy="5081202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44290" y="6356350"/>
            <a:ext cx="2743200" cy="365125"/>
          </a:xfrm>
        </p:spPr>
        <p:txBody>
          <a:bodyPr/>
          <a:lstStyle/>
          <a:p>
            <a:fld id="{C764DE79-268F-4C1A-8933-263129D2AF90}" type="datetimeFigureOut">
              <a:rPr lang="en-US" dirty="0"/>
              <a:t>1/20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891645" y="6356350"/>
            <a:ext cx="4114800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/20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/20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/20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/20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5" name="对象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/20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44290" y="135663"/>
            <a:ext cx="8725064" cy="461665"/>
          </a:xfrm>
        </p:spPr>
        <p:txBody>
          <a:bodyPr>
            <a:normAutofit/>
          </a:bodyPr>
          <a:lstStyle>
            <a:lvl1pPr marL="0" algn="l" defTabSz="913765" rtl="0" eaLnBrk="1" latinLnBrk="0" hangingPunct="1">
              <a:defRPr lang="en-US" sz="2400" b="1" kern="1200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cs typeface="+mn-cs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/20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/20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17" imgW="12700" imgH="12700" progId="TCLayout.ActiveDocument.1">
                  <p:embed/>
                </p:oleObj>
              </mc:Choice>
              <mc:Fallback>
                <p:oleObj name="think-cell Slide" r:id="rId17" imgW="12700" imgH="12700" progId="TCLayout.ActiveDocument.1">
                  <p:embed/>
                  <p:pic>
                    <p:nvPicPr>
                      <p:cNvPr id="7" name="对象 6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1/20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"/>
          <a:stretch>
            <a:fillRect/>
          </a:stretch>
        </p:blipFill>
        <p:spPr>
          <a:xfrm>
            <a:off x="0" y="0"/>
            <a:ext cx="12202160" cy="80772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oes the language model understand numbers?</a:t>
            </a:r>
            <a:endParaRPr lang="zh-CN" altLang="en-US" sz="4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9E6D653-299C-4B92-9F73-DE10FF05E14F}"/>
              </a:ext>
            </a:extLst>
          </p:cNvPr>
          <p:cNvSpPr txBox="1"/>
          <p:nvPr/>
        </p:nvSpPr>
        <p:spPr>
          <a:xfrm>
            <a:off x="3727450" y="4375150"/>
            <a:ext cx="467995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Junxin</a:t>
            </a:r>
            <a:r>
              <a:rPr lang="en-US" altLang="zh-CN" sz="24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Li</a:t>
            </a:r>
          </a:p>
          <a:p>
            <a:pPr algn="ctr"/>
            <a:r>
              <a:rPr lang="en-US" altLang="zh-CN" sz="24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2.01.20</a:t>
            </a:r>
          </a:p>
          <a:p>
            <a:pPr algn="ctr"/>
            <a:r>
              <a:rPr lang="en-US" altLang="zh-CN" sz="24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algn="ctr"/>
            <a:endParaRPr lang="en-US" altLang="zh-CN" sz="24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zh-CN" altLang="en-US" sz="24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4DF4317-7A7D-4CEE-860A-9C1B02AF38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5 for </a:t>
            </a:r>
            <a:r>
              <a:rPr lang="en-US" altLang="zh-CN" dirty="0" err="1"/>
              <a:t>Numberacy</a:t>
            </a:r>
            <a:r>
              <a:rPr lang="en-US" altLang="zh-CN" dirty="0"/>
              <a:t> Task</a:t>
            </a:r>
            <a:endParaRPr lang="zh-CN" altLang="en-US" dirty="0"/>
          </a:p>
        </p:txBody>
      </p:sp>
      <p:pic>
        <p:nvPicPr>
          <p:cNvPr id="4" name="内容占位符 4">
            <a:extLst>
              <a:ext uri="{FF2B5EF4-FFF2-40B4-BE49-F238E27FC236}">
                <a16:creationId xmlns:a16="http://schemas.microsoft.com/office/drawing/2014/main" id="{9C0E2D74-053F-4A06-983E-BC6FCBAEF2D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6506542" y="1626900"/>
            <a:ext cx="4850014" cy="3817431"/>
          </a:xfr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88DFCFAF-8286-47A0-8C1F-2002BC459A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5444" y="1757318"/>
            <a:ext cx="3936797" cy="3826713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6063F6DD-75B2-441B-BA8C-4468459E17BD}"/>
              </a:ext>
            </a:extLst>
          </p:cNvPr>
          <p:cNvSpPr txBox="1"/>
          <p:nvPr/>
        </p:nvSpPr>
        <p:spPr>
          <a:xfrm>
            <a:off x="447674" y="718231"/>
            <a:ext cx="11038089" cy="3749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altLang="zh-CN" sz="18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vestigating Numeracy Learning Ability of a Text-to-Text Transfer Model </a:t>
            </a:r>
            <a:r>
              <a:rPr lang="en-US" altLang="zh-CN" sz="1600" b="1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altLang="zh-CN" sz="18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EMNLP Findings 2021)</a:t>
            </a:r>
          </a:p>
        </p:txBody>
      </p:sp>
    </p:spTree>
    <p:extLst>
      <p:ext uri="{BB962C8B-B14F-4D97-AF65-F5344CB8AC3E}">
        <p14:creationId xmlns:p14="http://schemas.microsoft.com/office/powerpoint/2010/main" val="42900275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148E1AF-E0EA-42C1-8F52-5E1DFA5931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asked Number Prediction</a:t>
            </a:r>
            <a:endParaRPr lang="zh-CN" altLang="en-US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F0324E07-AFC6-4917-BC1A-80713E4C6965}"/>
              </a:ext>
            </a:extLst>
          </p:cNvPr>
          <p:cNvSpPr txBox="1"/>
          <p:nvPr/>
        </p:nvSpPr>
        <p:spPr>
          <a:xfrm>
            <a:off x="184150" y="864717"/>
            <a:ext cx="10629900" cy="6796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altLang="zh-CN" sz="18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edicting Numerals in Natural Language Text Using a Language Model Considering the Quantitative Aspects of Numerals </a:t>
            </a:r>
            <a:r>
              <a:rPr lang="en-US" altLang="zh-CN" sz="18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NAACL-HLT 2021)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2895229E-8240-4C62-8BCC-0C731E2648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73275" y="2319730"/>
            <a:ext cx="3556000" cy="954109"/>
          </a:xfrm>
          <a:prstGeom prst="rect">
            <a:avLst/>
          </a:prstGeom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B8105F97-9016-4AF4-9ACD-8D6E09831458}"/>
              </a:ext>
            </a:extLst>
          </p:cNvPr>
          <p:cNvSpPr txBox="1"/>
          <p:nvPr/>
        </p:nvSpPr>
        <p:spPr>
          <a:xfrm>
            <a:off x="361950" y="1792907"/>
            <a:ext cx="28638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/>
              <a:t>Definition of this task</a:t>
            </a:r>
            <a:endParaRPr lang="zh-CN" altLang="en-US" b="1" dirty="0"/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34F5E4CA-F1EE-47DE-8505-A04313AE7ACA}"/>
              </a:ext>
            </a:extLst>
          </p:cNvPr>
          <p:cNvSpPr txBox="1"/>
          <p:nvPr/>
        </p:nvSpPr>
        <p:spPr>
          <a:xfrm>
            <a:off x="361950" y="3614822"/>
            <a:ext cx="2324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/>
              <a:t>Approach</a:t>
            </a:r>
            <a:endParaRPr lang="zh-CN" altLang="en-US" b="1" dirty="0"/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0CFC474B-E6F8-4F85-A390-2B5B9251ADFA}"/>
              </a:ext>
            </a:extLst>
          </p:cNvPr>
          <p:cNvSpPr txBox="1"/>
          <p:nvPr/>
        </p:nvSpPr>
        <p:spPr>
          <a:xfrm>
            <a:off x="438150" y="4387334"/>
            <a:ext cx="61023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/>
              <a:t>1) </a:t>
            </a:r>
            <a:r>
              <a:rPr lang="zh-CN" altLang="en-US" dirty="0"/>
              <a:t>LossNUM</a:t>
            </a:r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id="{220BC0DC-8859-43D2-8AEC-B89C223EE4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28825" y="4194171"/>
            <a:ext cx="3400450" cy="933457"/>
          </a:xfrm>
          <a:prstGeom prst="rect">
            <a:avLst/>
          </a:prstGeom>
        </p:spPr>
      </p:pic>
      <p:sp>
        <p:nvSpPr>
          <p:cNvPr id="17" name="文本框 16">
            <a:extLst>
              <a:ext uri="{FF2B5EF4-FFF2-40B4-BE49-F238E27FC236}">
                <a16:creationId xmlns:a16="http://schemas.microsoft.com/office/drawing/2014/main" id="{EB129171-AA29-482D-84F8-E5AB07F1BB70}"/>
              </a:ext>
            </a:extLst>
          </p:cNvPr>
          <p:cNvSpPr txBox="1"/>
          <p:nvPr/>
        </p:nvSpPr>
        <p:spPr>
          <a:xfrm>
            <a:off x="438150" y="5632804"/>
            <a:ext cx="61023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/>
              <a:t>2) </a:t>
            </a:r>
            <a:r>
              <a:rPr lang="zh-CN" altLang="en-US" dirty="0"/>
              <a:t>REG Model</a:t>
            </a:r>
          </a:p>
        </p:txBody>
      </p:sp>
      <p:pic>
        <p:nvPicPr>
          <p:cNvPr id="19" name="图片 18">
            <a:extLst>
              <a:ext uri="{FF2B5EF4-FFF2-40B4-BE49-F238E27FC236}">
                <a16:creationId xmlns:a16="http://schemas.microsoft.com/office/drawing/2014/main" id="{478ADD2A-3DE6-4221-AC71-650FBADFEAD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28825" y="5582102"/>
            <a:ext cx="3067072" cy="647705"/>
          </a:xfrm>
          <a:prstGeom prst="rect">
            <a:avLst/>
          </a:prstGeom>
        </p:spPr>
      </p:pic>
      <p:pic>
        <p:nvPicPr>
          <p:cNvPr id="20" name="图片 19">
            <a:extLst>
              <a:ext uri="{FF2B5EF4-FFF2-40B4-BE49-F238E27FC236}">
                <a16:creationId xmlns:a16="http://schemas.microsoft.com/office/drawing/2014/main" id="{D29989B0-E435-49D4-ACEB-21CBF11973E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28557" y="1917699"/>
            <a:ext cx="5334395" cy="3933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7407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B4F19C8-C0F8-46F6-8636-F16A2BED50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4290" y="105243"/>
            <a:ext cx="8725064" cy="461665"/>
          </a:xfrm>
        </p:spPr>
        <p:txBody>
          <a:bodyPr/>
          <a:lstStyle/>
          <a:p>
            <a:r>
              <a:rPr lang="en-US" altLang="zh-CN" dirty="0"/>
              <a:t>The End</a:t>
            </a:r>
            <a:endParaRPr lang="zh-CN" altLang="en-US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EB335B89-C21A-4FD0-9AC4-970E19EF2608}"/>
              </a:ext>
            </a:extLst>
          </p:cNvPr>
          <p:cNvSpPr txBox="1"/>
          <p:nvPr/>
        </p:nvSpPr>
        <p:spPr>
          <a:xfrm>
            <a:off x="3327400" y="2774950"/>
            <a:ext cx="48196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5400" dirty="0"/>
              <a:t>Thanks</a:t>
            </a:r>
            <a:endParaRPr lang="zh-CN" altLang="en-US" sz="5400" dirty="0"/>
          </a:p>
        </p:txBody>
      </p:sp>
    </p:spTree>
    <p:extLst>
      <p:ext uri="{BB962C8B-B14F-4D97-AF65-F5344CB8AC3E}">
        <p14:creationId xmlns:p14="http://schemas.microsoft.com/office/powerpoint/2010/main" val="37674052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Papers</a:t>
            </a:r>
            <a:endParaRPr altLang="zh-CN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44290" y="1539875"/>
            <a:ext cx="10436225" cy="5501005"/>
          </a:xfrm>
        </p:spPr>
        <p:txBody>
          <a:bodyPr>
            <a:normAutofit/>
          </a:bodyPr>
          <a:lstStyle/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altLang="zh-CN" sz="1800" b="1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1. Do Language Embeddings Capture Scales?</a:t>
            </a:r>
            <a:r>
              <a:rPr lang="en-US" altLang="zh-CN" sz="1600" b="1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  (</a:t>
            </a:r>
            <a:r>
              <a:rPr lang="en-US" altLang="zh-CN" sz="18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EMNLP Findings 2020)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endParaRPr lang="en-US" altLang="zh-CN" sz="18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altLang="zh-CN" sz="18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 Numeracy enhances the Literacy of Language Models </a:t>
            </a:r>
            <a:r>
              <a:rPr lang="en-US" altLang="zh-CN" sz="18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altLang="zh-CN" sz="18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EMNLP 2021)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endParaRPr lang="en-US" altLang="zh-CN" sz="18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altLang="zh-CN" sz="18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. Investigating Numeracy Learning Ability of a Text-to-Text Transfer Model </a:t>
            </a:r>
            <a:r>
              <a:rPr lang="en-US" altLang="zh-CN" sz="1600" b="1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altLang="zh-CN" sz="18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EMNLP Findings 2021)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endParaRPr lang="en-US" altLang="zh-CN" sz="18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altLang="zh-CN" sz="18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. Predicting Numerals in Natural Language Text Using a Language Model Considering the Quantitative Aspects of Numerals </a:t>
            </a:r>
            <a:r>
              <a:rPr lang="en-US" altLang="zh-CN" sz="18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NAACL-HLT 2021)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endParaRPr lang="en-US" altLang="zh-CN" sz="1800" b="0" i="0" dirty="0">
              <a:solidFill>
                <a:srgbClr val="000000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endParaRPr lang="en-US" altLang="zh-CN" sz="18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endParaRPr lang="en-US" altLang="zh-CN" sz="18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endParaRPr lang="en-US" altLang="zh-CN" sz="18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altLang="zh-CN" dirty="0"/>
              <a:t>Background</a:t>
            </a:r>
          </a:p>
        </p:txBody>
      </p:sp>
      <p:pic>
        <p:nvPicPr>
          <p:cNvPr id="5" name="内容占位符 4">
            <a:extLst>
              <a:ext uri="{FF2B5EF4-FFF2-40B4-BE49-F238E27FC236}">
                <a16:creationId xmlns:a16="http://schemas.microsoft.com/office/drawing/2014/main" id="{B866CD42-4242-40B8-96F5-383EC756E2E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5875266" y="1166018"/>
            <a:ext cx="5750198" cy="4525963"/>
          </a:xfr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B5D577EA-80A1-4EB8-AD98-0609BCF2B92F}"/>
              </a:ext>
            </a:extLst>
          </p:cNvPr>
          <p:cNvSpPr txBox="1"/>
          <p:nvPr/>
        </p:nvSpPr>
        <p:spPr>
          <a:xfrm>
            <a:off x="473075" y="1542534"/>
            <a:ext cx="61023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Numbers are everywhere.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2A42AF4E-758E-4D22-B576-E6FF5B201244}"/>
              </a:ext>
            </a:extLst>
          </p:cNvPr>
          <p:cNvSpPr txBox="1"/>
          <p:nvPr/>
        </p:nvSpPr>
        <p:spPr>
          <a:xfrm>
            <a:off x="473075" y="2624352"/>
            <a:ext cx="61023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Numbers are neglected.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3EFE01B9-93FF-4391-91D1-C031AC306D93}"/>
              </a:ext>
            </a:extLst>
          </p:cNvPr>
          <p:cNvSpPr txBox="1"/>
          <p:nvPr/>
        </p:nvSpPr>
        <p:spPr>
          <a:xfrm>
            <a:off x="473075" y="4539081"/>
            <a:ext cx="61023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Numbers are important.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34A9FB4A-7448-40A6-87DC-2089680A5CF8}"/>
              </a:ext>
            </a:extLst>
          </p:cNvPr>
          <p:cNvSpPr txBox="1"/>
          <p:nvPr/>
        </p:nvSpPr>
        <p:spPr>
          <a:xfrm>
            <a:off x="819825" y="3484043"/>
            <a:ext cx="609805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/>
              <a:t>BPE</a:t>
            </a:r>
            <a:r>
              <a:rPr lang="zh-CN" altLang="en-US" dirty="0"/>
              <a:t>： </a:t>
            </a:r>
            <a:r>
              <a:rPr lang="en-US" altLang="zh-CN" dirty="0"/>
              <a:t>1234   →  12-34 or 123-4 or 1-234</a:t>
            </a:r>
          </a:p>
          <a:p>
            <a:endParaRPr lang="en-US" altLang="zh-CN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FF49F00-AC73-4F37-A777-61BE6C5197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Embedding method</a:t>
            </a:r>
            <a:endParaRPr lang="zh-CN" altLang="en-US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59E63511-1B2A-4E8C-986E-07386F8B10ED}"/>
              </a:ext>
            </a:extLst>
          </p:cNvPr>
          <p:cNvSpPr txBox="1"/>
          <p:nvPr/>
        </p:nvSpPr>
        <p:spPr>
          <a:xfrm>
            <a:off x="544290" y="965098"/>
            <a:ext cx="8277225" cy="3749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altLang="zh-CN" sz="1800" b="1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Do Language Embeddings Capture Scales?</a:t>
            </a:r>
            <a:r>
              <a:rPr lang="en-US" altLang="zh-CN" sz="1600" b="1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  (</a:t>
            </a:r>
            <a:r>
              <a:rPr lang="en-US" altLang="zh-CN" sz="18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EMNLP Findings 2020)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1612A178-82AF-4B4C-9BF2-860A361466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88661" y="1349588"/>
            <a:ext cx="4184449" cy="4381500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F9F77865-C9EA-42D9-8720-93580B6A003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03399" y="4326859"/>
            <a:ext cx="3445733" cy="878086"/>
          </a:xfrm>
          <a:prstGeom prst="rect">
            <a:avLst/>
          </a:prstGeom>
        </p:spPr>
      </p:pic>
      <p:sp>
        <p:nvSpPr>
          <p:cNvPr id="16" name="文本框 15">
            <a:extLst>
              <a:ext uri="{FF2B5EF4-FFF2-40B4-BE49-F238E27FC236}">
                <a16:creationId xmlns:a16="http://schemas.microsoft.com/office/drawing/2014/main" id="{D3A1031D-3BB9-4F94-844A-2B7827901A40}"/>
              </a:ext>
            </a:extLst>
          </p:cNvPr>
          <p:cNvSpPr txBox="1"/>
          <p:nvPr/>
        </p:nvSpPr>
        <p:spPr>
          <a:xfrm>
            <a:off x="544290" y="1700144"/>
            <a:ext cx="68264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Overview: They pretrain BERT-base with a modified training corpus where all numbers are converted to scientific notation. </a:t>
            </a:r>
            <a:endParaRPr lang="zh-CN" altLang="en-US" dirty="0"/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4FF4B885-1340-41A7-9403-55C5062E2C6D}"/>
              </a:ext>
            </a:extLst>
          </p:cNvPr>
          <p:cNvSpPr txBox="1"/>
          <p:nvPr/>
        </p:nvSpPr>
        <p:spPr>
          <a:xfrm>
            <a:off x="544290" y="2875002"/>
            <a:ext cx="682644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Definition : They define the scalar probing task (see Figure1) as the problem of predicting a distribution over values of a scalar attribute of an object.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535833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B846170-F651-4863-BE14-8D409BDB6D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Embedding method</a:t>
            </a:r>
            <a:endParaRPr lang="zh-CN" altLang="en-US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89C8FE00-BAF8-4C90-95DD-8DB7C3EB3699}"/>
              </a:ext>
            </a:extLst>
          </p:cNvPr>
          <p:cNvSpPr txBox="1"/>
          <p:nvPr/>
        </p:nvSpPr>
        <p:spPr>
          <a:xfrm>
            <a:off x="544290" y="1031764"/>
            <a:ext cx="8277225" cy="3749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altLang="zh-CN" sz="1800" b="1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Do Language Embeddings Capture Scales?</a:t>
            </a:r>
            <a:r>
              <a:rPr lang="en-US" altLang="zh-CN" sz="1600" b="1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  (</a:t>
            </a:r>
            <a:r>
              <a:rPr lang="en-US" altLang="zh-CN" sz="18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EMNLP Findings 2020)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CCEB9558-26E4-4225-B7AD-1E8958029B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56110" y="1725545"/>
            <a:ext cx="6096153" cy="2979806"/>
          </a:xfrm>
          <a:prstGeom prst="rect">
            <a:avLst/>
          </a:prstGeom>
        </p:spPr>
      </p:pic>
      <p:sp>
        <p:nvSpPr>
          <p:cNvPr id="14" name="文本框 13">
            <a:extLst>
              <a:ext uri="{FF2B5EF4-FFF2-40B4-BE49-F238E27FC236}">
                <a16:creationId xmlns:a16="http://schemas.microsoft.com/office/drawing/2014/main" id="{4D03FDC6-F953-4C44-865C-7C2E9204570B}"/>
              </a:ext>
            </a:extLst>
          </p:cNvPr>
          <p:cNvSpPr txBox="1"/>
          <p:nvPr/>
        </p:nvSpPr>
        <p:spPr>
          <a:xfrm>
            <a:off x="544290" y="2063234"/>
            <a:ext cx="474526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1" dirty="0"/>
              <a:t>Regression</a:t>
            </a:r>
            <a:r>
              <a:rPr lang="zh-CN" altLang="en-US" dirty="0"/>
              <a:t> </a:t>
            </a:r>
            <a:r>
              <a:rPr lang="en-US" altLang="zh-CN" dirty="0"/>
              <a:t>: predict log of </a:t>
            </a:r>
            <a:r>
              <a:rPr lang="en-US" altLang="zh-CN" b="1" dirty="0"/>
              <a:t>the median </a:t>
            </a:r>
            <a:r>
              <a:rPr lang="en-US" altLang="zh-CN" dirty="0"/>
              <a:t>of all values for each object for the scale attribute under consideration.</a:t>
            </a:r>
            <a:endParaRPr lang="zh-CN" altLang="en-US" dirty="0"/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8DBFFD06-D63E-4E14-B9E6-F86101130825}"/>
              </a:ext>
            </a:extLst>
          </p:cNvPr>
          <p:cNvSpPr txBox="1"/>
          <p:nvPr/>
        </p:nvSpPr>
        <p:spPr>
          <a:xfrm>
            <a:off x="544290" y="3593584"/>
            <a:ext cx="395786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1" dirty="0"/>
              <a:t>Multi-class Classification (mcc) </a:t>
            </a:r>
            <a:r>
              <a:rPr lang="en-US" altLang="zh-CN" b="1" dirty="0"/>
              <a:t>: </a:t>
            </a:r>
            <a:r>
              <a:rPr lang="en-US" altLang="zh-CN" dirty="0"/>
              <a:t>Predict  number distribution</a:t>
            </a:r>
            <a:r>
              <a:rPr lang="en-US" altLang="zh-CN" b="1" dirty="0"/>
              <a:t>.</a:t>
            </a:r>
            <a:endParaRPr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32842656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B846170-F651-4863-BE14-8D409BDB6D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Embedding method</a:t>
            </a:r>
            <a:endParaRPr lang="zh-CN" altLang="en-US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89C8FE00-BAF8-4C90-95DD-8DB7C3EB3699}"/>
              </a:ext>
            </a:extLst>
          </p:cNvPr>
          <p:cNvSpPr txBox="1"/>
          <p:nvPr/>
        </p:nvSpPr>
        <p:spPr>
          <a:xfrm>
            <a:off x="544290" y="1031764"/>
            <a:ext cx="8277225" cy="3749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altLang="zh-CN" sz="1800" b="1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Do Language Embeddings Capture Scales?</a:t>
            </a:r>
            <a:r>
              <a:rPr lang="en-US" altLang="zh-CN" sz="1600" b="1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  (</a:t>
            </a:r>
            <a:r>
              <a:rPr lang="en-US" altLang="zh-CN" sz="18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EMNLP Findings 2020)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EC7F4D61-6F4C-4031-9B06-D3DEE5D5655A}"/>
              </a:ext>
            </a:extLst>
          </p:cNvPr>
          <p:cNvSpPr txBox="1"/>
          <p:nvPr/>
        </p:nvSpPr>
        <p:spPr>
          <a:xfrm>
            <a:off x="544290" y="1764784"/>
            <a:ext cx="61023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scientific notation </a:t>
            </a:r>
            <a:r>
              <a:rPr lang="en-US" altLang="zh-CN" dirty="0"/>
              <a:t>: a combination of an exponent and mantissa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1BCCA91B-3C44-4F80-8A96-B85273B1A481}"/>
              </a:ext>
            </a:extLst>
          </p:cNvPr>
          <p:cNvSpPr txBox="1"/>
          <p:nvPr/>
        </p:nvSpPr>
        <p:spPr>
          <a:xfrm>
            <a:off x="1908175" y="3028890"/>
            <a:ext cx="137477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14.1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0E33A965-C4F0-4CF9-AD54-F57F97B46E90}"/>
              </a:ext>
            </a:extLst>
          </p:cNvPr>
          <p:cNvSpPr txBox="1"/>
          <p:nvPr/>
        </p:nvSpPr>
        <p:spPr>
          <a:xfrm>
            <a:off x="3502025" y="3028890"/>
            <a:ext cx="192722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141[EXP]2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82EDB167-F4EC-4071-A735-C24AE0507863}"/>
              </a:ext>
            </a:extLst>
          </p:cNvPr>
          <p:cNvSpPr txBox="1"/>
          <p:nvPr/>
        </p:nvSpPr>
        <p:spPr>
          <a:xfrm>
            <a:off x="544290" y="4022636"/>
            <a:ext cx="628831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This enables the BERT model to more easily associate objects in the sentence directly with the magnitude expressed in the exponent, ignoring the relatively insignificant mantissa.</a:t>
            </a:r>
          </a:p>
        </p:txBody>
      </p:sp>
      <p:cxnSp>
        <p:nvCxnSpPr>
          <p:cNvPr id="15" name="直接箭头连接符 14">
            <a:extLst>
              <a:ext uri="{FF2B5EF4-FFF2-40B4-BE49-F238E27FC236}">
                <a16:creationId xmlns:a16="http://schemas.microsoft.com/office/drawing/2014/main" id="{6A1151A5-DD23-4342-B89A-DB32DEE828C4}"/>
              </a:ext>
            </a:extLst>
          </p:cNvPr>
          <p:cNvCxnSpPr>
            <a:cxnSpLocks/>
          </p:cNvCxnSpPr>
          <p:nvPr/>
        </p:nvCxnSpPr>
        <p:spPr>
          <a:xfrm>
            <a:off x="2730500" y="3228945"/>
            <a:ext cx="72072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7" name="图片 16">
            <a:extLst>
              <a:ext uri="{FF2B5EF4-FFF2-40B4-BE49-F238E27FC236}">
                <a16:creationId xmlns:a16="http://schemas.microsoft.com/office/drawing/2014/main" id="{E40CDD4D-41CD-4EDD-842A-98DA403C86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01007" y="1373960"/>
            <a:ext cx="4246703" cy="411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11111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861ED06-A59A-4865-B5DD-8063E8658F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Embedding method</a:t>
            </a:r>
            <a:endParaRPr lang="zh-CN" altLang="en-US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1C126167-E745-43FE-90A5-E120F5F76AC2}"/>
              </a:ext>
            </a:extLst>
          </p:cNvPr>
          <p:cNvSpPr txBox="1"/>
          <p:nvPr/>
        </p:nvSpPr>
        <p:spPr>
          <a:xfrm>
            <a:off x="655501" y="973847"/>
            <a:ext cx="8232775" cy="3749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altLang="zh-CN" sz="18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umeracy enhances the Literacy of Language Models </a:t>
            </a:r>
            <a:r>
              <a:rPr lang="en-US" altLang="zh-CN" sz="18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altLang="zh-CN" sz="18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EMNLP 2021)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E0A42EEB-443D-44E5-A9E7-2675A19E1E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42788" y="1862920"/>
            <a:ext cx="7523440" cy="4137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00236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861ED06-A59A-4865-B5DD-8063E8658F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Embedding method</a:t>
            </a:r>
            <a:endParaRPr lang="zh-CN" altLang="en-US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1C126167-E745-43FE-90A5-E120F5F76AC2}"/>
              </a:ext>
            </a:extLst>
          </p:cNvPr>
          <p:cNvSpPr txBox="1"/>
          <p:nvPr/>
        </p:nvSpPr>
        <p:spPr>
          <a:xfrm>
            <a:off x="544290" y="942864"/>
            <a:ext cx="8232775" cy="3749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altLang="zh-CN" sz="18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umeracy enhances the Literacy of Language Models </a:t>
            </a:r>
            <a:r>
              <a:rPr lang="en-US" altLang="zh-CN" sz="18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altLang="zh-CN" sz="18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EMNLP 2021)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9E300C92-9DF8-4017-988C-C6F1067902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4399" y="2529323"/>
            <a:ext cx="10062191" cy="2152420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EDFA137E-E29D-4E96-BD2B-96B053D6A464}"/>
              </a:ext>
            </a:extLst>
          </p:cNvPr>
          <p:cNvSpPr txBox="1"/>
          <p:nvPr/>
        </p:nvSpPr>
        <p:spPr>
          <a:xfrm>
            <a:off x="544290" y="1581150"/>
            <a:ext cx="3238500" cy="3749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New dataset: Wiki-Conver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7368275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861ED06-A59A-4865-B5DD-8063E8658F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Embedding method</a:t>
            </a:r>
            <a:endParaRPr lang="zh-CN" altLang="en-US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1C126167-E745-43FE-90A5-E120F5F76AC2}"/>
              </a:ext>
            </a:extLst>
          </p:cNvPr>
          <p:cNvSpPr txBox="1"/>
          <p:nvPr/>
        </p:nvSpPr>
        <p:spPr>
          <a:xfrm>
            <a:off x="544290" y="942864"/>
            <a:ext cx="8232775" cy="3749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altLang="zh-CN" sz="18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umeracy enhances the Literacy of Language Models </a:t>
            </a:r>
            <a:r>
              <a:rPr lang="en-US" altLang="zh-CN" sz="18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altLang="zh-CN" sz="18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EMNLP 2021)</a:t>
            </a: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815DB4B5-3594-425B-8EDA-F90CB5FFDE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1124" y="2108196"/>
            <a:ext cx="8619984" cy="2641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35364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">
  <a:themeElements>
    <a:clrScheme name="Office 主题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736</TotalTime>
  <Words>367</Words>
  <Application>Microsoft Office PowerPoint</Application>
  <PresentationFormat>宽屏</PresentationFormat>
  <Paragraphs>55</Paragraphs>
  <Slides>12</Slides>
  <Notes>5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2</vt:i4>
      </vt:variant>
    </vt:vector>
  </HeadingPairs>
  <TitlesOfParts>
    <vt:vector size="20" baseType="lpstr">
      <vt:lpstr>Microsoft JhengHei</vt:lpstr>
      <vt:lpstr>微软雅黑</vt:lpstr>
      <vt:lpstr>Arial</vt:lpstr>
      <vt:lpstr>Calibri</vt:lpstr>
      <vt:lpstr>Calibri Light</vt:lpstr>
      <vt:lpstr>Times New Roman</vt:lpstr>
      <vt:lpstr>Office 主题</vt:lpstr>
      <vt:lpstr>think-cell Slide</vt:lpstr>
      <vt:lpstr>Does the language model understand numbers?</vt:lpstr>
      <vt:lpstr>Papers</vt:lpstr>
      <vt:lpstr>Background</vt:lpstr>
      <vt:lpstr>Embedding method</vt:lpstr>
      <vt:lpstr>Embedding method</vt:lpstr>
      <vt:lpstr>Embedding method</vt:lpstr>
      <vt:lpstr>Embedding method</vt:lpstr>
      <vt:lpstr>Embedding method</vt:lpstr>
      <vt:lpstr>Embedding method</vt:lpstr>
      <vt:lpstr>T5 for Numberacy Task</vt:lpstr>
      <vt:lpstr>Masked Number Prediction</vt:lpstr>
      <vt:lpstr>The End</vt:lpstr>
    </vt:vector>
  </TitlesOfParts>
  <Company>iTianKong.co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T天空</dc:creator>
  <cp:lastModifiedBy>李 俊欣</cp:lastModifiedBy>
  <cp:revision>1841</cp:revision>
  <dcterms:created xsi:type="dcterms:W3CDTF">2017-09-05T08:52:00Z</dcterms:created>
  <dcterms:modified xsi:type="dcterms:W3CDTF">2022-01-20T05:17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11294</vt:lpwstr>
  </property>
  <property fmtid="{D5CDD505-2E9C-101B-9397-08002B2CF9AE}" pid="3" name="ICV">
    <vt:lpwstr>2391422DA7CE4504A2E311E596F37857</vt:lpwstr>
  </property>
</Properties>
</file>